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xlsb" ContentType="application/vnd.ms-excel.sheet.binary.macroEnabled.12"/>
  <Default Extension="emf" ContentType="image/x-emf"/>
  <Default Extension="bin" ContentType="application/vnd.openxmlformats-officedocument.oleObject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226.xml" ContentType="application/vnd.openxmlformats-officedocument.presentationml.slide+xml"/>
  <Override PartName="/ppt/tags/tag1909.xml" ContentType="application/vnd.openxmlformats-officedocument.presentationml.tags+xml"/>
  <Override PartName="/ppt/tags/tag1914.xml" ContentType="application/vnd.openxmlformats-officedocument.presentationml.tags+xml"/>
  <Override PartName="/ppt/tags/tag1922.xml" ContentType="application/vnd.openxmlformats-officedocument.presentationml.tags+xml"/>
  <Override PartName="/ppt/tags/tag1935.xml" ContentType="application/vnd.openxmlformats-officedocument.presentationml.tags+xml"/>
  <Override PartName="/ppt/tags/tag1917.xml" ContentType="application/vnd.openxmlformats-officedocument.presentationml.tags+xml"/>
  <Override PartName="/ppt/tags/tag1930.xml" ContentType="application/vnd.openxmlformats-officedocument.presentationml.tags+xml"/>
  <Override PartName="/ppt/tags/tag1938.xml" ContentType="application/vnd.openxmlformats-officedocument.presentationml.tags+xml"/>
  <Override PartName="/ppt/tags/tag1943.xml" ContentType="application/vnd.openxmlformats-officedocument.presentationml.tags+xml"/>
  <Override PartName="/ppt/notesSlides/notesSlide226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1903.xml" ContentType="application/vnd.openxmlformats-officedocument.presentationml.tags+xml"/>
  <Override PartName="/ppt/tags/tag1898.xml" ContentType="application/vnd.openxmlformats-officedocument.presentationml.tags+xml"/>
  <Override PartName="/ppt/tags/tag1912.xml" ContentType="application/vnd.openxmlformats-officedocument.presentationml.tags+xml"/>
  <Override PartName="/ppt/tags/tag1925.xml" ContentType="application/vnd.openxmlformats-officedocument.presentationml.tags+xml"/>
  <Override PartName="/ppt/tags/tag1907.xml" ContentType="application/vnd.openxmlformats-officedocument.presentationml.tags+xml"/>
  <Override PartName="/ppt/tags/tag1920.xml" ContentType="application/vnd.openxmlformats-officedocument.presentationml.tags+xml"/>
  <Override PartName="/ppt/tags/tag1928.xml" ContentType="application/vnd.openxmlformats-officedocument.presentationml.tags+xml"/>
  <Override PartName="/ppt/tags/tag1933.xml" ContentType="application/vnd.openxmlformats-officedocument.presentationml.tags+xml"/>
  <Override PartName="/ppt/tags/tag1936.xml" ContentType="application/vnd.openxmlformats-officedocument.presentationml.tags+xml"/>
  <Override PartName="/ppt/tags/tag1941.xml" ContentType="application/vnd.openxmlformats-officedocument.presentationml.tags+xml"/>
  <Override PartName="/ppt/charts/chart60.xml" ContentType="application/vnd.openxmlformats-officedocument.drawingml.chart+xml"/>
  <Override PartName="/ppt/tags/tag1901.xml" ContentType="application/vnd.openxmlformats-officedocument.presentationml.tags+xml"/>
  <Override PartName="/ppt/tags/tag1906.xml" ContentType="application/vnd.openxmlformats-officedocument.presentationml.tags+xml"/>
  <Override PartName="/ppt/tags/tag1915.xml" ContentType="application/vnd.openxmlformats-officedocument.presentationml.tags+xml"/>
  <Override PartName="/ppt/tags/tag1927.xml" ContentType="application/vnd.openxmlformats-officedocument.presentationml.tags+xml"/>
  <Override PartName="/ppt/tags/tag1940.xml" ContentType="application/vnd.openxmlformats-officedocument.presentationml.tags+xml"/>
  <Override PartName="/ppt/tags/tag1900.xml" ContentType="application/vnd.openxmlformats-officedocument.presentationml.tags+xml"/>
  <Override PartName="/ppt/tags/tag1905.xml" ContentType="application/vnd.openxmlformats-officedocument.presentationml.tags+xml"/>
  <Override PartName="/ppt/tags/tag1910.xml" ContentType="application/vnd.openxmlformats-officedocument.presentationml.tags+xml"/>
  <Override PartName="/ppt/tags/tag1918.xml" ContentType="application/vnd.openxmlformats-officedocument.presentationml.tags+xml"/>
  <Override PartName="/ppt/tags/tag1923.xml" ContentType="application/vnd.openxmlformats-officedocument.presentationml.tags+xml"/>
  <Override PartName="/ppt/tags/tag1926.xml" ContentType="application/vnd.openxmlformats-officedocument.presentationml.tags+xml"/>
  <Override PartName="/ppt/tags/tag1931.xml" ContentType="application/vnd.openxmlformats-officedocument.presentationml.tags+xml"/>
  <Override PartName="/ppt/tags/tag1939.xml" ContentType="application/vnd.openxmlformats-officedocument.presentationml.tags+xml"/>
  <Override PartName="/ppt/tags/tag1944.xml" ContentType="application/vnd.openxmlformats-officedocument.presentationml.tags+xml"/>
  <Override PartName="/ppt/tags/tag1904.xml" ContentType="application/vnd.openxmlformats-officedocument.presentationml.tags+xml"/>
  <Override PartName="/ppt/tags/tag1899.xml" ContentType="application/vnd.openxmlformats-officedocument.presentationml.tags+xml"/>
  <Override PartName="/ppt/tags/tag1908.xml" ContentType="application/vnd.openxmlformats-officedocument.presentationml.tags+xml"/>
  <Override PartName="/ppt/tags/tag1913.xml" ContentType="application/vnd.openxmlformats-officedocument.presentationml.tags+xml"/>
  <Override PartName="/ppt/tags/tag1921.xml" ContentType="application/vnd.openxmlformats-officedocument.presentationml.tags+xml"/>
  <Override PartName="/ppt/tags/tag1929.xml" ContentType="application/vnd.openxmlformats-officedocument.presentationml.tags+xml"/>
  <Override PartName="/ppt/tags/tag1934.xml" ContentType="application/vnd.openxmlformats-officedocument.presentationml.tags+xml"/>
  <Override PartName="/ppt/tags/tag1942.xml" ContentType="application/vnd.openxmlformats-officedocument.presentationml.tags+xml"/>
  <Override PartName="/ppt/tags/tag1916.xml" ContentType="application/vnd.openxmlformats-officedocument.presentationml.tags+xml"/>
  <Override PartName="/ppt/tags/tag1937.xml" ContentType="application/vnd.openxmlformats-officedocument.presentationml.tags+xml"/>
  <Override PartName="/ppt/tags/tag1902.xml" ContentType="application/vnd.openxmlformats-officedocument.presentationml.tags+xml"/>
  <Override PartName="/ppt/tags/tag1911.xml" ContentType="application/vnd.openxmlformats-officedocument.presentationml.tags+xml"/>
  <Override PartName="/ppt/tags/tag1919.xml" ContentType="application/vnd.openxmlformats-officedocument.presentationml.tags+xml"/>
  <Override PartName="/ppt/tags/tag1924.xml" ContentType="application/vnd.openxmlformats-officedocument.presentationml.tags+xml"/>
  <Override PartName="/ppt/tags/tag1932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46" r:id="rId22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226.xml" Id="rId229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60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59.xlsb" Id="rId1" /></Relationships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945064197011155E-2"/>
          <c:y val="2.7253668763102725E-2"/>
          <c:w val="0.97810987160597773"/>
          <c:h val="0.945492662473794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C8A-4E5F-9B85-FD3D90EA9FB1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C8A-4E5F-9B85-FD3D90EA9FB1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15000</c:v>
                </c:pt>
                <c:pt idx="1">
                  <c:v>33200</c:v>
                </c:pt>
                <c:pt idx="2">
                  <c:v>26200</c:v>
                </c:pt>
                <c:pt idx="3">
                  <c:v>22000</c:v>
                </c:pt>
                <c:pt idx="4">
                  <c:v>21550</c:v>
                </c:pt>
                <c:pt idx="5">
                  <c:v>215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C8A-4E5F-9B85-FD3D90EA9FB1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8C8A-4E5F-9B85-FD3D90EA9FB1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0">
                  <c:v>25000</c:v>
                </c:pt>
                <c:pt idx="1">
                  <c:v>2600</c:v>
                </c:pt>
                <c:pt idx="2">
                  <c:v>4000</c:v>
                </c:pt>
                <c:pt idx="3">
                  <c:v>2200</c:v>
                </c:pt>
                <c:pt idx="4">
                  <c:v>2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C8A-4E5F-9B85-FD3D90EA9FB1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1">
                  <c:v>4200</c:v>
                </c:pt>
                <c:pt idx="2">
                  <c:v>3000</c:v>
                </c:pt>
                <c:pt idx="3">
                  <c:v>2000</c:v>
                </c:pt>
                <c:pt idx="4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C8A-4E5F-9B85-FD3D90EA9F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79381823"/>
        <c:axId val="1"/>
      </c:barChart>
      <c:catAx>
        <c:axId val="9793818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zh-CN"/>
          </a:p>
        </c:txPr>
        <c:crossAx val="979381823"/>
        <c:crosses val="min"/>
        <c:crossBetween val="between"/>
        <c:majorUnit val="500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30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26.xml.rels>&#65279;<?xml version="1.0" encoding="utf-8"?><Relationships xmlns="http://schemas.openxmlformats.org/package/2006/relationships"><Relationship Type="http://schemas.openxmlformats.org/officeDocument/2006/relationships/slide" Target="/ppt/slides/slide226.xml" Id="rId2" /><Relationship Type="http://schemas.openxmlformats.org/officeDocument/2006/relationships/notesMaster" Target="/ppt/notesMasters/notesMaster1.xml" Id="rId1" /></Relationships>
</file>

<file path=ppt/notesSlides/notesSlide2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290325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26.xml.rels>&#65279;<?xml version="1.0" encoding="utf-8"?><Relationships xmlns="http://schemas.openxmlformats.org/package/2006/relationships"><Relationship Type="http://schemas.openxmlformats.org/officeDocument/2006/relationships/tags" Target="/ppt/tags/tag1909.xml" Id="rId13" /><Relationship Type="http://schemas.openxmlformats.org/officeDocument/2006/relationships/tags" Target="/ppt/tags/tag1914.xml" Id="rId18" /><Relationship Type="http://schemas.openxmlformats.org/officeDocument/2006/relationships/tags" Target="/ppt/tags/tag1922.xml" Id="rId26" /><Relationship Type="http://schemas.openxmlformats.org/officeDocument/2006/relationships/tags" Target="/ppt/tags/tag1935.xml" Id="rId39" /><Relationship Type="http://schemas.openxmlformats.org/officeDocument/2006/relationships/tags" Target="/ppt/tags/tag1917.xml" Id="rId21" /><Relationship Type="http://schemas.openxmlformats.org/officeDocument/2006/relationships/tags" Target="/ppt/tags/tag1930.xml" Id="rId34" /><Relationship Type="http://schemas.openxmlformats.org/officeDocument/2006/relationships/tags" Target="/ppt/tags/tag1938.xml" Id="rId42" /><Relationship Type="http://schemas.openxmlformats.org/officeDocument/2006/relationships/tags" Target="/ppt/tags/tag1943.xml" Id="rId47" /><Relationship Type="http://schemas.openxmlformats.org/officeDocument/2006/relationships/notesSlide" Target="/ppt/notesSlides/notesSlide226.xml" Id="rId50" /><Relationship Type="http://schemas.openxmlformats.org/officeDocument/2006/relationships/tags" Target="/ppt/tags/tag1903.xml" Id="rId7" /><Relationship Type="http://schemas.openxmlformats.org/officeDocument/2006/relationships/tags" Target="/ppt/tags/tag1898.xml" Id="rId2" /><Relationship Type="http://schemas.openxmlformats.org/officeDocument/2006/relationships/tags" Target="/ppt/tags/tag1912.xml" Id="rId16" /><Relationship Type="http://schemas.openxmlformats.org/officeDocument/2006/relationships/tags" Target="/ppt/tags/tag1925.xml" Id="rId29" /><Relationship Type="http://schemas.openxmlformats.org/officeDocument/2006/relationships/tags" Target="/ppt/tags/tag1907.xml" Id="rId11" /><Relationship Type="http://schemas.openxmlformats.org/officeDocument/2006/relationships/tags" Target="/ppt/tags/tag1920.xml" Id="rId24" /><Relationship Type="http://schemas.openxmlformats.org/officeDocument/2006/relationships/tags" Target="/ppt/tags/tag1928.xml" Id="rId32" /><Relationship Type="http://schemas.openxmlformats.org/officeDocument/2006/relationships/tags" Target="/ppt/tags/tag1933.xml" Id="rId37" /><Relationship Type="http://schemas.openxmlformats.org/officeDocument/2006/relationships/tags" Target="/ppt/tags/tag1936.xml" Id="rId40" /><Relationship Type="http://schemas.openxmlformats.org/officeDocument/2006/relationships/tags" Target="/ppt/tags/tag1941.xml" Id="rId45" /><Relationship Type="http://schemas.openxmlformats.org/officeDocument/2006/relationships/chart" Target="/ppt/charts/chart60.xml" Id="rId53" /><Relationship Type="http://schemas.openxmlformats.org/officeDocument/2006/relationships/tags" Target="/ppt/tags/tag1901.xml" Id="rId5" /><Relationship Type="http://schemas.openxmlformats.org/officeDocument/2006/relationships/tags" Target="/ppt/tags/tag1906.xml" Id="rId10" /><Relationship Type="http://schemas.openxmlformats.org/officeDocument/2006/relationships/tags" Target="/ppt/tags/tag1915.xml" Id="rId19" /><Relationship Type="http://schemas.openxmlformats.org/officeDocument/2006/relationships/tags" Target="/ppt/tags/tag1927.xml" Id="rId31" /><Relationship Type="http://schemas.openxmlformats.org/officeDocument/2006/relationships/tags" Target="/ppt/tags/tag1940.xml" Id="rId44" /><Relationship Type="http://schemas.openxmlformats.org/officeDocument/2006/relationships/image" Target="/ppt/media/image4.emf" Id="rId52" /><Relationship Type="http://schemas.openxmlformats.org/officeDocument/2006/relationships/tags" Target="/ppt/tags/tag1900.xml" Id="rId4" /><Relationship Type="http://schemas.openxmlformats.org/officeDocument/2006/relationships/tags" Target="/ppt/tags/tag1905.xml" Id="rId9" /><Relationship Type="http://schemas.openxmlformats.org/officeDocument/2006/relationships/tags" Target="/ppt/tags/tag1910.xml" Id="rId14" /><Relationship Type="http://schemas.openxmlformats.org/officeDocument/2006/relationships/tags" Target="/ppt/tags/tag1918.xml" Id="rId22" /><Relationship Type="http://schemas.openxmlformats.org/officeDocument/2006/relationships/tags" Target="/ppt/tags/tag1923.xml" Id="rId27" /><Relationship Type="http://schemas.openxmlformats.org/officeDocument/2006/relationships/tags" Target="/ppt/tags/tag1926.xml" Id="rId30" /><Relationship Type="http://schemas.openxmlformats.org/officeDocument/2006/relationships/tags" Target="/ppt/tags/tag1931.xml" Id="rId35" /><Relationship Type="http://schemas.openxmlformats.org/officeDocument/2006/relationships/tags" Target="/ppt/tags/tag1939.xml" Id="rId43" /><Relationship Type="http://schemas.openxmlformats.org/officeDocument/2006/relationships/tags" Target="/ppt/tags/tag1944.xml" Id="rId48" /><Relationship Type="http://schemas.openxmlformats.org/officeDocument/2006/relationships/tags" Target="/ppt/tags/tag1904.xml" Id="rId8" /><Relationship Type="http://schemas.openxmlformats.org/officeDocument/2006/relationships/oleObject" Target="/ppt/embeddings/oleObject230.bin" Id="rId51" /><Relationship Type="http://schemas.openxmlformats.org/officeDocument/2006/relationships/tags" Target="/ppt/tags/tag1899.xml" Id="rId3" /><Relationship Type="http://schemas.openxmlformats.org/officeDocument/2006/relationships/tags" Target="/ppt/tags/tag1908.xml" Id="rId12" /><Relationship Type="http://schemas.openxmlformats.org/officeDocument/2006/relationships/tags" Target="/ppt/tags/tag1913.xml" Id="rId17" /><Relationship Type="http://schemas.openxmlformats.org/officeDocument/2006/relationships/tags" Target="/ppt/tags/tag1921.xml" Id="rId25" /><Relationship Type="http://schemas.openxmlformats.org/officeDocument/2006/relationships/tags" Target="/ppt/tags/tag1929.xml" Id="rId33" /><Relationship Type="http://schemas.openxmlformats.org/officeDocument/2006/relationships/tags" Target="/ppt/tags/tag1934.xml" Id="rId38" /><Relationship Type="http://schemas.openxmlformats.org/officeDocument/2006/relationships/tags" Target="/ppt/tags/tag1942.xml" Id="rId46" /><Relationship Type="http://schemas.openxmlformats.org/officeDocument/2006/relationships/tags" Target="/ppt/tags/tag1916.xml" Id="rId20" /><Relationship Type="http://schemas.openxmlformats.org/officeDocument/2006/relationships/tags" Target="/ppt/tags/tag1937.xml" Id="rId41" /><Relationship Type="http://schemas.openxmlformats.org/officeDocument/2006/relationships/vmlDrawing" Target="/ppt/drawings/vmlDrawing230.vml" Id="rId1" /><Relationship Type="http://schemas.openxmlformats.org/officeDocument/2006/relationships/tags" Target="/ppt/tags/tag1902.xml" Id="rId6" /><Relationship Type="http://schemas.openxmlformats.org/officeDocument/2006/relationships/tags" Target="/ppt/tags/tag1911.xml" Id="rId15" /><Relationship Type="http://schemas.openxmlformats.org/officeDocument/2006/relationships/tags" Target="/ppt/tags/tag1919.xml" Id="rId23" /><Relationship Type="http://schemas.openxmlformats.org/officeDocument/2006/relationships/tags" Target="/ppt/tags/tag1924.xml" Id="rId28" /><Relationship Type="http://schemas.openxmlformats.org/officeDocument/2006/relationships/tags" Target="/ppt/tags/tag1932.xml" Id="rId36" /><Relationship Type="http://schemas.openxmlformats.org/officeDocument/2006/relationships/slideLayout" Target="/ppt/slideLayouts/slideLayout5.xml" Id="rId49" /></Relationships>
</file>

<file path=ppt/slides/slide2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1627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79" name="think-cell 幻灯片" r:id="rId51" imgW="349" imgH="350" progId="TCLayout.ActiveDocument.1">
                  <p:embed/>
                </p:oleObj>
              </mc:Choice>
              <mc:Fallback>
                <p:oleObj name="think-cell 幻灯片" r:id="rId51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spc="-30"/>
              <a:t>Contribution to change: Build-down w</a:t>
            </a:r>
            <a:r>
              <a:rPr lang="en-US" altLang="en-US" spc="-30"/>
              <a:t>aterfall</a:t>
            </a:r>
            <a:endParaRPr lang="en-US"/>
          </a:p>
        </p:txBody>
      </p: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6FA22CFD-84EE-3DB6-53DE-69A904D480E5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>
            <a:off x="5421312" y="3602038"/>
            <a:ext cx="5461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DC2289C2-4BD2-E6B9-942B-E07EADC820A5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>
            <a:off x="4192587" y="3300413"/>
            <a:ext cx="5461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D7E1F589-AD12-3AB2-2ECC-23A6FACB765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>
            <a:off x="2962274" y="2800350"/>
            <a:ext cx="5461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072EF796-F7A6-B2EA-9056-BF50D7141D40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>
            <a:off x="1733549" y="2312988"/>
            <a:ext cx="5461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3A7AF435-295B-68D2-15BC-383CE58B61B5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>
            <a:off x="6651624" y="3633788"/>
            <a:ext cx="5461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60" name="Chart 3">
            <a:extLst>
              <a:ext uri="{FF2B5EF4-FFF2-40B4-BE49-F238E27FC236}">
                <a16:creationId xmlns:a16="http://schemas.microsoft.com/office/drawing/2014/main" id="{62641814-6A94-44E5-A912-089EBE44A837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83351300"/>
              </p:ext>
            </p:extLst>
          </p:nvPr>
        </p:nvGraphicFramePr>
        <p:xfrm>
          <a:off x="693738" y="2230438"/>
          <a:ext cx="7542212" cy="3028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sp>
        <p:nvSpPr>
          <p:cNvPr id="18" name="Rectangle 129">
            <a:extLst>
              <a:ext uri="{FF2B5EF4-FFF2-40B4-BE49-F238E27FC236}">
                <a16:creationId xmlns:a16="http://schemas.microsoft.com/office/drawing/2014/main" id="{046C7D81-AA5E-5358-E3D1-ECA112A74B5E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487363" y="4729163"/>
            <a:ext cx="1127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AED11E6-C856-4F03-9511-58C50502596D}" type="datetime'''5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Rectangle 130">
            <a:extLst>
              <a:ext uri="{FF2B5EF4-FFF2-40B4-BE49-F238E27FC236}">
                <a16:creationId xmlns:a16="http://schemas.microsoft.com/office/drawing/2014/main" id="{430F4499-24D6-99D9-25B3-F7F773F44EE1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409575" y="4370388"/>
            <a:ext cx="19050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90253CD-3490-4CFD-85C3-34E4CA2E3813}" type="datetime'1''''''''''''''''''''''''''''''''''''''''0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9" name="Rectangle 131">
            <a:extLst>
              <a:ext uri="{FF2B5EF4-FFF2-40B4-BE49-F238E27FC236}">
                <a16:creationId xmlns:a16="http://schemas.microsoft.com/office/drawing/2014/main" id="{FECC346F-E78C-20F0-22B2-2FBAAF663D0A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412751" y="4013200"/>
            <a:ext cx="1873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C8FCD11-B52F-4654-87A6-701BC8C485AB}" type="datetime'''''''''''1''''''''''''''''''''5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1" name="Rectangle 132">
            <a:extLst>
              <a:ext uri="{FF2B5EF4-FFF2-40B4-BE49-F238E27FC236}">
                <a16:creationId xmlns:a16="http://schemas.microsoft.com/office/drawing/2014/main" id="{8D0CBE24-E893-908C-9C44-095E924BF4D6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373063" y="3654425"/>
            <a:ext cx="2270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222261B-034E-4ED0-9FC7-2FB76CBBE34F}" type="datetime'''''''''''''''''''''2''''''0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0" name="Rectangle 133">
            <a:extLst>
              <a:ext uri="{FF2B5EF4-FFF2-40B4-BE49-F238E27FC236}">
                <a16:creationId xmlns:a16="http://schemas.microsoft.com/office/drawing/2014/main" id="{5D996CEF-F5A2-9E93-C895-88D2B8175E7A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376238" y="3297238"/>
            <a:ext cx="2238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AD983AD-EC91-40CC-942A-92AC68B5DB82}" type="datetime'''''''''''''''''''''''''''''''''''''''''''''''25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Rectangle 134">
            <a:extLst>
              <a:ext uri="{FF2B5EF4-FFF2-40B4-BE49-F238E27FC236}">
                <a16:creationId xmlns:a16="http://schemas.microsoft.com/office/drawing/2014/main" id="{AB507A8B-A6C0-1770-CD9A-7A801B7A9C72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374650" y="2938463"/>
            <a:ext cx="2254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E6748DE-1FF9-450C-A783-D8B4B120A697}" type="datetime'3''''''''''''''''''0''''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377825" y="2565400"/>
            <a:ext cx="222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6E88147-3DAD-4686-A194-5D5C37A70158}" type="datetime'''''''''''''''3''''''''''''''''5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369888" y="2206625"/>
            <a:ext cx="2301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12718E2-C755-4C20-92F6-3088779FB268}" type="datetime'''''''''''''''''''''''''''4''''''''''''''''0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" name="Rectangle 128">
            <a:extLst>
              <a:ext uri="{FF2B5EF4-FFF2-40B4-BE49-F238E27FC236}">
                <a16:creationId xmlns:a16="http://schemas.microsoft.com/office/drawing/2014/main" id="{FF95EF2E-0CE3-90A1-A7CA-F2753D6F62D2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484187" y="5086350"/>
            <a:ext cx="11588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AD684A6-A4F4-4813-9D84-3AEC6E35FCE6}" type="datetime'''''''0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D0698CC-BFB0-478E-F0F5-E15B7A37B12E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 flipH="1">
            <a:off x="6575425" y="3416300"/>
            <a:ext cx="98425" cy="1920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6598995-7FE3-6874-8BEC-FA2311FF426C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 flipH="1">
            <a:off x="6575425" y="3511550"/>
            <a:ext cx="98425" cy="1127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Rectangle 140">
            <a:extLst>
              <a:ext uri="{FF2B5EF4-FFF2-40B4-BE49-F238E27FC236}">
                <a16:creationId xmlns:a16="http://schemas.microsoft.com/office/drawing/2014/main" id="{4718579C-F69C-5E7B-63B2-AB38AA9A9A4D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369888" y="1851025"/>
            <a:ext cx="27527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Revenues, costs, </a:t>
            </a:r>
            <a:r>
              <a:rPr lang="en-US" altLang="en-US" sz="1400">
                <a:solidFill>
                  <a:schemeClr val="bg2">
                    <a:lumMod val="10000"/>
                  </a:schemeClr>
                </a:solidFill>
              </a:rPr>
              <a:t>t</a:t>
            </a: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otals [USD </a:t>
            </a:r>
            <a:r>
              <a:rPr lang="en-US" altLang="en-US" sz="1400">
                <a:solidFill>
                  <a:schemeClr val="bg2">
                    <a:lumMod val="10000"/>
                  </a:schemeClr>
                </a:solidFill>
              </a:rPr>
              <a:t>m</a:t>
            </a: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]</a:t>
            </a: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5" name="Rectangle 36">
            <a:extLst>
              <a:ext uri="{FF2B5EF4-FFF2-40B4-BE49-F238E27FC236}">
                <a16:creationId xmlns:a16="http://schemas.microsoft.com/office/drawing/2014/main" id="{CB2D0A56-F6EC-CDAB-A8CE-56EF98787AC0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1171575" y="3113088"/>
            <a:ext cx="4397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001F1EB-BAC4-44E8-AD89-0FA375875834}" type="datetime'''25''.0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5.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4" name="Rectangle 41">
            <a:extLst>
              <a:ext uri="{FF2B5EF4-FFF2-40B4-BE49-F238E27FC236}">
                <a16:creationId xmlns:a16="http://schemas.microsoft.com/office/drawing/2014/main" id="{FAD14937-C0A9-7708-727A-93545DE835D8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1189038" y="4545013"/>
            <a:ext cx="403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965EDC3-DDC2-40E9-B234-3A4E556EF44A}" type="datetime'''1''''5''.''''''''''''0''''''''''''''''''''''''''''''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.0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28" name="Rectangle 47">
            <a:extLst>
              <a:ext uri="{FF2B5EF4-FFF2-40B4-BE49-F238E27FC236}">
                <a16:creationId xmlns:a16="http://schemas.microsoft.com/office/drawing/2014/main" id="{19396F30-D04E-AAE0-BEF9-7FDBF515E638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1014413" y="5235575"/>
            <a:ext cx="7524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13B58C1-3C05-4553-959A-BA2DE82E084A}" type="datetime'R''''''''''''''''''''''''''eve''n''ue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Revenue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0" name="Rectangle 36">
            <a:extLst>
              <a:ext uri="{FF2B5EF4-FFF2-40B4-BE49-F238E27FC236}">
                <a16:creationId xmlns:a16="http://schemas.microsoft.com/office/drawing/2014/main" id="{C278DAF8-EFB9-D9EE-5554-C18E5CCB3955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2459037" y="2366963"/>
            <a:ext cx="3254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CB43C6D-D18F-4873-92EB-88535559DB50}" type="datetime'''''''4''''''''''''''''''''''.''2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.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9" name="Rectangle 41">
            <a:extLst>
              <a:ext uri="{FF2B5EF4-FFF2-40B4-BE49-F238E27FC236}">
                <a16:creationId xmlns:a16="http://schemas.microsoft.com/office/drawing/2014/main" id="{7FCAE6CD-724F-ED79-6CE6-5A9282991DCA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2460625" y="2611438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1854B54-6EFE-4D77-ACF1-D80C2AB9CAF3}" type="datetime'''''''2''''''''.''''''''''''''''6''''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.6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10" name="Rectangle 48">
            <a:extLst>
              <a:ext uri="{FF2B5EF4-FFF2-40B4-BE49-F238E27FC236}">
                <a16:creationId xmlns:a16="http://schemas.microsoft.com/office/drawing/2014/main" id="{96BD5424-13EC-6C9C-3013-6835068CA720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4640263" y="5235575"/>
            <a:ext cx="879475" cy="42545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B8D2C3E-E0F3-471C-97A5-0BB97FECDEC6}" type="datetime'Op''''''''er''a''ti''''''''''''''n''g'' c''''''o''s''''ts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Operating costs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6" name="Rectangle 36">
            <a:extLst>
              <a:ext uri="{FF2B5EF4-FFF2-40B4-BE49-F238E27FC236}">
                <a16:creationId xmlns:a16="http://schemas.microsoft.com/office/drawing/2014/main" id="{3803ECE7-5F8C-5E8F-02E8-6B733F12E94A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6673850" y="3224213"/>
            <a:ext cx="3270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967CF51-329F-4F16-A1CE-04E6681D3163}" type="datetime'''0''''''''''''''''''''''''''.''2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5" name="Rectangle 41">
            <a:extLst>
              <a:ext uri="{FF2B5EF4-FFF2-40B4-BE49-F238E27FC236}">
                <a16:creationId xmlns:a16="http://schemas.microsoft.com/office/drawing/2014/main" id="{7E59D1EC-B333-38F4-415C-FF02ACF56EAB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6673849" y="3416300"/>
            <a:ext cx="3254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929112E-AFB7-4156-A42D-FF56D91FB9C8}" type="datetime'''''''''''''0''''''.''''''''''''''3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3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7" name="Rectangle 48">
            <a:extLst>
              <a:ext uri="{FF2B5EF4-FFF2-40B4-BE49-F238E27FC236}">
                <a16:creationId xmlns:a16="http://schemas.microsoft.com/office/drawing/2014/main" id="{CFD94E23-CA4B-0873-E6E0-18A77DA7DE14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5870574" y="5235575"/>
            <a:ext cx="8763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1518976-9009-4B89-832F-4167B2792417}" type="datetime'''''M''''ar''''ke''''''''''''''ti''''''''''''n''g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arketing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41" name="Rectangle 48">
            <a:extLst>
              <a:ext uri="{FF2B5EF4-FFF2-40B4-BE49-F238E27FC236}">
                <a16:creationId xmlns:a16="http://schemas.microsoft.com/office/drawing/2014/main" id="{3A938C7F-7887-D4D0-4058-A3F253B790E9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7042150" y="5235575"/>
            <a:ext cx="9953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5B6920D-08EE-4C12-B144-2564E5650645}" type="datetime'''''''''N''''''''''e''t'''''''''' ''''in''c''o''m''''''e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Net income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4" name="Rectangle 36">
            <a:extLst>
              <a:ext uri="{FF2B5EF4-FFF2-40B4-BE49-F238E27FC236}">
                <a16:creationId xmlns:a16="http://schemas.microsoft.com/office/drawing/2014/main" id="{F3058E03-2187-4C46-39FD-1485EF1BF521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4916488" y="3276600"/>
            <a:ext cx="3270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E6B5F0B-29C6-4B02-B459-8227BE154061}" type="datetime'''''''''''''''''''''2.''0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.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5" name="Rectangle 48">
            <a:extLst>
              <a:ext uri="{FF2B5EF4-FFF2-40B4-BE49-F238E27FC236}">
                <a16:creationId xmlns:a16="http://schemas.microsoft.com/office/drawing/2014/main" id="{09B5440B-9829-C18F-5A14-D26213ABBD37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3543300" y="5235575"/>
            <a:ext cx="6127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846FACA-0681-466A-9210-2FED20FDFA0E}" type="datetime'''''W''''''''a''''g''''''''''''e''''''''s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Wages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1" name="Rectangle 41">
            <a:extLst>
              <a:ext uri="{FF2B5EF4-FFF2-40B4-BE49-F238E27FC236}">
                <a16:creationId xmlns:a16="http://schemas.microsoft.com/office/drawing/2014/main" id="{BDAA59AA-B5FC-38B3-5B5A-6F9D09147E54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3684587" y="3062288"/>
            <a:ext cx="33020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9540008-57C1-443D-AD6D-EE9F9ABF9610}" type="datetime'''''''''''''''''''''''''''4''''''''''''.''0''''''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.0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82" name="Rectangle 36">
            <a:extLst>
              <a:ext uri="{FF2B5EF4-FFF2-40B4-BE49-F238E27FC236}">
                <a16:creationId xmlns:a16="http://schemas.microsoft.com/office/drawing/2014/main" id="{0B2BE946-A176-BD14-F733-CFCCCA9647CB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3687762" y="2811463"/>
            <a:ext cx="3254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FC06F91-DA62-4EA5-8987-9179F8FF13DB}" type="datetime'''''''3''''''''''''''''''''''''''.0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.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1" name="Rectangle 48">
            <a:extLst>
              <a:ext uri="{FF2B5EF4-FFF2-40B4-BE49-F238E27FC236}">
                <a16:creationId xmlns:a16="http://schemas.microsoft.com/office/drawing/2014/main" id="{44B63EB3-F3B2-656B-D064-713CC8B5CC24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349500" y="5235575"/>
            <a:ext cx="5445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73269A6-A8FD-4AE9-B2DE-CA7E948D3409}" type="datetime'''''''''''''''''''''''''''''C''''''''''O''''''G''''''''S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COGS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" name="Rectangle 60">
            <a:extLst>
              <a:ext uri="{FF2B5EF4-FFF2-40B4-BE49-F238E27FC236}">
                <a16:creationId xmlns:a16="http://schemas.microsoft.com/office/drawing/2014/main" id="{DC627A34-02A8-BB5B-FD91-7AEDF344805C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1168400" y="2095500"/>
            <a:ext cx="44608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E262454-D897-4C41-A158-5AA2CAB34595}" type="datetime'''''''4''''''''''''''''0''''''''''''''''.''''''''''''''''''0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0.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2" name="Rectangle 61">
            <a:extLst>
              <a:ext uri="{FF2B5EF4-FFF2-40B4-BE49-F238E27FC236}">
                <a16:creationId xmlns:a16="http://schemas.microsoft.com/office/drawing/2014/main" id="{CE2C4B56-D3E2-3AAA-57EB-5BC67290EDF0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2414588" y="2825750"/>
            <a:ext cx="4143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3072C51-C800-4C7F-A1F2-28D5CFCE8312}" type="datetime'''''''''''''''''''''''''''''''''''''''''-''''6.8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6.8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26" name="Rectangle 61">
            <a:extLst>
              <a:ext uri="{FF2B5EF4-FFF2-40B4-BE49-F238E27FC236}">
                <a16:creationId xmlns:a16="http://schemas.microsoft.com/office/drawing/2014/main" id="{12486419-5815-A754-FC46-5B3B19384BAA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3649663" y="3325813"/>
            <a:ext cx="4016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A10FA60-5D32-49B6-BB0A-E760400FB101}" type="datetime'''''''''-''''''''''''''''''''''''''''''''7''''.0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7.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3" name="Rectangle 61">
            <a:extLst>
              <a:ext uri="{FF2B5EF4-FFF2-40B4-BE49-F238E27FC236}">
                <a16:creationId xmlns:a16="http://schemas.microsoft.com/office/drawing/2014/main" id="{A571EE5F-39B2-429C-7493-CC11EFA3C3AE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4873625" y="3627438"/>
            <a:ext cx="4143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2D6B566-ACA8-40D8-8AF9-1360586518CA}" type="datetime'''''''-4''''''''''''''''''.''''''''''''''''''''2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4.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5" name="Rectangle 61">
            <a:extLst>
              <a:ext uri="{FF2B5EF4-FFF2-40B4-BE49-F238E27FC236}">
                <a16:creationId xmlns:a16="http://schemas.microsoft.com/office/drawing/2014/main" id="{6C50B1D5-D992-2626-C0BA-707C0E106B81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6100763" y="3659188"/>
            <a:ext cx="4175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F7EDA9F-D821-497F-8EFA-151F42CB022B}" type="datetime'''''''-''0''''''''''''''''.''5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0.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5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7340600" y="3395663"/>
            <a:ext cx="396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05A09DC-7546-4C6D-BB1B-4AFF4BA7192F}" type="datetime'''''''2''''''1''''''''''''''.''''''''''''''''6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.6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3" name="Rectangle 41">
            <a:extLst>
              <a:ext uri="{FF2B5EF4-FFF2-40B4-BE49-F238E27FC236}">
                <a16:creationId xmlns:a16="http://schemas.microsoft.com/office/drawing/2014/main" id="{7CCB6987-D48F-59C3-6F3E-EABFBAA0221F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4919663" y="3427413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8A53947-4ACF-44A0-ACEB-74F05A5A11BF}" type="datetime'2''''''''''''''.''''''''''''''''''''''2''''''''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.2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7" name="Rectangle 6">
            <a:extLst>
              <a:ext uri="{FF2B5EF4-FFF2-40B4-BE49-F238E27FC236}">
                <a16:creationId xmlns:a16="http://schemas.microsoft.com/office/drawing/2014/main" id="{DE8DDA57-B0D1-557D-F3CB-B0DFA54D6DF2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3332163" y="5778500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30">
            <a:extLst>
              <a:ext uri="{FF2B5EF4-FFF2-40B4-BE49-F238E27FC236}">
                <a16:creationId xmlns:a16="http://schemas.microsoft.com/office/drawing/2014/main" id="{BB3EEC37-2AE6-CA9D-F68F-0AF394D7727C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4068763" y="5778500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10">
            <a:extLst>
              <a:ext uri="{FF2B5EF4-FFF2-40B4-BE49-F238E27FC236}">
                <a16:creationId xmlns:a16="http://schemas.microsoft.com/office/drawing/2014/main" id="{248F1E76-1C2D-CC39-AF03-510CF15AA7EF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4841875" y="577850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1">
            <a:extLst>
              <a:ext uri="{FF2B5EF4-FFF2-40B4-BE49-F238E27FC236}">
                <a16:creationId xmlns:a16="http://schemas.microsoft.com/office/drawing/2014/main" id="{43F88573-7136-B57B-D320-B85721E38AD5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3633788" y="5773738"/>
            <a:ext cx="3333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7028A10-4DC0-4EB3-B377-522D24522D91}" type="datetime'''B''''''''''U1''''''''''''''''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BU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4" name="Rectangle 26">
            <a:extLst>
              <a:ext uri="{FF2B5EF4-FFF2-40B4-BE49-F238E27FC236}">
                <a16:creationId xmlns:a16="http://schemas.microsoft.com/office/drawing/2014/main" id="{DE2B3C3E-29CB-E66C-E724-B0CB6C17A435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4370387" y="5773738"/>
            <a:ext cx="3698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F9FCBA8-48E6-4D7C-AD27-F9568F1B0B17}" type="datetime'''''''''''''''''''''''B''''''U''''''''''2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BU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5" name="Rectangle 3">
            <a:extLst>
              <a:ext uri="{FF2B5EF4-FFF2-40B4-BE49-F238E27FC236}">
                <a16:creationId xmlns:a16="http://schemas.microsoft.com/office/drawing/2014/main" id="{43EFEC97-2CD5-69DA-28A0-60710939D895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5143500" y="5773738"/>
            <a:ext cx="54133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7D6A284-C9E4-46A7-8BED-A1121107C9D5}" type="datetime'''T''''o''t''''''''''''''''a''''''''''''''''''l''s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Totals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D7B9F4C2-52EE-2285-D021-3C28C059664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6149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hink-cell, chart, charts, graph, graphs, comment</a:t>
            </a:r>
          </a:p>
        </p:txBody>
      </p:sp>
      <p:sp>
        <p:nvSpPr>
          <p:cNvPr id="86" name="Rechteck 137">
            <a:extLst>
              <a:ext uri="{FF2B5EF4-FFF2-40B4-BE49-F238E27FC236}">
                <a16:creationId xmlns:a16="http://schemas.microsoft.com/office/drawing/2014/main" id="{4D148801-5370-909E-CE3A-EB7298CEDD12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87" name="tc_columnheader">
            <a:extLst>
              <a:ext uri="{FF2B5EF4-FFF2-40B4-BE49-F238E27FC236}">
                <a16:creationId xmlns:a16="http://schemas.microsoft.com/office/drawing/2014/main" id="{114F14B8-1658-99B4-4356-23FE5C38888E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88" name="tc_columnhead">
              <a:extLst>
                <a:ext uri="{FF2B5EF4-FFF2-40B4-BE49-F238E27FC236}">
                  <a16:creationId xmlns:a16="http://schemas.microsoft.com/office/drawing/2014/main" id="{CCEB7BD3-93AF-227F-ABB3-3ED4CFC7EFDB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>
                  <a:solidFill>
                    <a:schemeClr val="tx1"/>
                  </a:solidFill>
                </a:rPr>
                <a:t>Insert chart title here</a:t>
              </a:r>
              <a:endParaRPr lang="en-US" sz="1600" b="0">
                <a:solidFill>
                  <a:schemeClr val="tx1"/>
                </a:solidFill>
              </a:endParaRPr>
            </a:p>
          </p:txBody>
        </p:sp>
        <p:cxnSp>
          <p:nvCxnSpPr>
            <p:cNvPr id="89" name="tc_columnheadline">
              <a:extLst>
                <a:ext uri="{FF2B5EF4-FFF2-40B4-BE49-F238E27FC236}">
                  <a16:creationId xmlns:a16="http://schemas.microsoft.com/office/drawing/2014/main" id="{4613BC13-48DD-3935-DCC0-B1D863A9159C}"/>
                </a:ext>
              </a:extLst>
            </p:cNvPr>
            <p:cNvCxnSpPr>
              <a:cxnSpLocks/>
              <a:stCxn id="88" idx="4"/>
              <a:endCxn id="88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0" name="tc_columnheader">
            <a:extLst>
              <a:ext uri="{FF2B5EF4-FFF2-40B4-BE49-F238E27FC236}">
                <a16:creationId xmlns:a16="http://schemas.microsoft.com/office/drawing/2014/main" id="{3D76FAEC-E7D8-E293-37A0-386C7C43BBCC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91" name="tc_columnhead">
              <a:extLst>
                <a:ext uri="{FF2B5EF4-FFF2-40B4-BE49-F238E27FC236}">
                  <a16:creationId xmlns:a16="http://schemas.microsoft.com/office/drawing/2014/main" id="{E7F61F30-9DA9-E1BA-B35F-025C549996B8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92" name="tc_columnheadline">
              <a:extLst>
                <a:ext uri="{FF2B5EF4-FFF2-40B4-BE49-F238E27FC236}">
                  <a16:creationId xmlns:a16="http://schemas.microsoft.com/office/drawing/2014/main" id="{D1E33D48-8578-AF87-92B1-EA0421B0327E}"/>
                </a:ext>
              </a:extLst>
            </p:cNvPr>
            <p:cNvCxnSpPr>
              <a:cxnSpLocks/>
              <a:stCxn id="91" idx="4"/>
              <a:endCxn id="91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tangle 18">
            <a:extLst>
              <a:ext uri="{FF2B5EF4-FFF2-40B4-BE49-F238E27FC236}">
                <a16:creationId xmlns:a16="http://schemas.microsoft.com/office/drawing/2014/main" id="{D6D1D670-68B5-F87A-25DF-8A50B08495C0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  <a:endParaRPr lang="en-US" sz="1200" u="sng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the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,Sans-Serif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labels)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the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60964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dGCpjYDZIvBg3apBb6vw"/>
</p:tagLst>
</file>

<file path=ppt/tags/tag1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1JaVWzFDoZRUsWz.zcJQ"/>
</p:tagLst>
</file>

<file path=ppt/tags/tag1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pyV2byC0L1t3HfMb9AKQ"/>
</p:tagLst>
</file>

<file path=ppt/tags/tag1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a0gcfWxUKnZQryvzKFxg"/>
</p:tagLst>
</file>

<file path=ppt/tags/tag1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G8c57KGSSyg4sz3.9hLQ"/>
</p:tagLst>
</file>

<file path=ppt/tags/tag1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iP_Dh_An8C2NE9D3Mgxg"/>
</p:tagLst>
</file>

<file path=ppt/tags/tag1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b.vPiW7h2hbLtQlDljIg"/>
</p:tagLst>
</file>

<file path=ppt/tags/tag1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Jnq3E4m5kVoMvopzM2ug"/>
</p:tagLst>
</file>

<file path=ppt/tags/tag1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QOXWDyv5ODh_IKbgo0oQ"/>
</p:tagLst>
</file>

<file path=ppt/tags/tag1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LViuU371biU1om4f3vrg"/>
</p:tagLst>
</file>

<file path=ppt/tags/tag1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7VWsRYOLVYIjMq4Hl5XA"/>
</p:tagLst>
</file>

<file path=ppt/tags/tag1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KDyYgVe0gGRTdxaUMbnA"/>
</p:tagLst>
</file>

<file path=ppt/tags/tag1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OsFdFvrV3_0kS2mdRvGw"/>
</p:tagLst>
</file>

<file path=ppt/tags/tag1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oxNuWa1oSGmEKjTKnfmA"/>
</p:tagLst>
</file>

<file path=ppt/tags/tag1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0w4Z9vr2s.0lZQZ_GEwA"/>
</p:tagLst>
</file>

<file path=ppt/tags/tag1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de.etPiXHNQs2MAAAggA"/>
</p:tagLst>
</file>

<file path=ppt/tags/tag1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Fdhhf4SoXc1gdJqfScqQ"/>
</p:tagLst>
</file>

<file path=ppt/tags/tag1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8vIJMYXVhZqTgv6XDmCw"/>
</p:tagLst>
</file>

<file path=ppt/tags/tag1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N_8vFCKyVYROh3YU6zZQ"/>
</p:tagLst>
</file>

<file path=ppt/tags/tag1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4O4LDT.qUFAk4oOR_VfA"/>
</p:tagLst>
</file>

<file path=ppt/tags/tag1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DW5d3KhvAQnno7hldlnA"/>
</p:tagLst>
</file>

<file path=ppt/tags/tag1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g.Fl8TAZhltWDA0bU9jA"/>
</p:tagLst>
</file>

<file path=ppt/tags/tag1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w__zq98btfO5y3oC6fvw"/>
</p:tagLst>
</file>

<file path=ppt/tags/tag1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dB2LPV8_r2.krV0LMmaw"/>
</p:tagLst>
</file>

<file path=ppt/tags/tag1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5R.ELaoM0oOSKY7iFYoQ"/>
</p:tagLst>
</file>

<file path=ppt/tags/tag1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8i4vLkpPLVHXGu.uRqLw"/>
</p:tagLst>
</file>

<file path=ppt/tags/tag1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Sx93ZVcV06Y.yBy4HPBg"/>
</p:tagLst>
</file>

<file path=ppt/tags/tag1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P1D6OUicOYbUsdCx51GA"/>
</p:tagLst>
</file>

<file path=ppt/tags/tag1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eQzGhYLxcAsHDrCJLlDA"/>
</p:tagLst>
</file>

<file path=ppt/tags/tag1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4V5giDbKNrX_yuY_aqZw"/>
</p:tagLst>
</file>

<file path=ppt/tags/tag1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hubKyR.KJOokP2wAwNEw"/>
</p:tagLst>
</file>

<file path=ppt/tags/tag1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iBeZTFVhpa9T3buibFNg"/>
</p:tagLst>
</file>

<file path=ppt/tags/tag1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ZHWfJP2pSnqWSq_MrL6g"/>
</p:tagLst>
</file>

<file path=ppt/tags/tag1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e2xeaDXyvem8v96OAKuA"/>
</p:tagLst>
</file>

<file path=ppt/tags/tag1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8v1whwZ8CO2Y2a13CGug"/>
</p:tagLst>
</file>

<file path=ppt/tags/tag1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O_cc52C_QV7.sNjxME8w"/>
</p:tagLst>
</file>

<file path=ppt/tags/tag1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Dn_MvxsTTgd625FCgb8g"/>
</p:tagLst>
</file>

<file path=ppt/tags/tag1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VM0u3hO71uPH63gY3t4Q"/>
</p:tagLst>
</file>

<file path=ppt/tags/tag1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BdElpxSnfRTw0g6cpzEQ"/>
</p:tagLst>
</file>

<file path=ppt/tags/tag1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BuarNRoDJ1BfyAISO6vQ"/>
</p:tagLst>
</file>

<file path=ppt/tags/tag1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vP2ubAAwA0yQYIJxURag"/>
</p:tagLst>
</file>

<file path=ppt/tags/tag1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68rGO7qyRf5g2kLd2KVQ"/>
</p:tagLst>
</file>

<file path=ppt/tags/tag1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brmvgTxRJWXfB.LxKA6w"/>
</p:tagLst>
</file>

<file path=ppt/tags/tag1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LcUv_h.8VNA.mYUgjmug"/>
</p:tagLst>
</file>

<file path=ppt/tags/tag1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qkKF5UjCNHBb0e8THb1Q"/>
</p:tagLst>
</file>

<file path=ppt/tags/tag1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vFAXKwBSi8bHpk2rLn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